
<file path=[Content_Types].xml><?xml version="1.0" encoding="utf-8"?>
<Types xmlns="http://schemas.openxmlformats.org/package/2006/content-types"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Default Extension="vml" ContentType="application/vnd.openxmlformats-officedocument.vmlDrawing"/>
  <Default Extension="gif" ContentType="image/gif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9"/>
  </p:notesMasterIdLst>
  <p:sldIdLst>
    <p:sldId id="256" r:id="rId5"/>
    <p:sldId id="328" r:id="rId6"/>
    <p:sldId id="332" r:id="rId7"/>
    <p:sldId id="330" r:id="rId8"/>
    <p:sldId id="331" r:id="rId9"/>
    <p:sldId id="333" r:id="rId10"/>
    <p:sldId id="334" r:id="rId11"/>
    <p:sldId id="335" r:id="rId12"/>
    <p:sldId id="336" r:id="rId13"/>
    <p:sldId id="337" r:id="rId14"/>
    <p:sldId id="338" r:id="rId15"/>
    <p:sldId id="339" r:id="rId16"/>
    <p:sldId id="326" r:id="rId17"/>
    <p:sldId id="327" r:id="rId18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19428"/>
    <a:srgbClr val="B85C00"/>
    <a:srgbClr val="FFFFF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00" autoAdjust="0"/>
    <p:restoredTop sz="89167" autoAdjust="0"/>
  </p:normalViewPr>
  <p:slideViewPr>
    <p:cSldViewPr showGuides="1">
      <p:cViewPr varScale="1">
        <p:scale>
          <a:sx n="70" d="100"/>
          <a:sy n="70" d="100"/>
        </p:scale>
        <p:origin x="-990" y="-96"/>
      </p:cViewPr>
      <p:guideLst>
        <p:guide orient="horz" pos="346"/>
        <p:guide orient="horz" pos="1111"/>
        <p:guide pos="385"/>
        <p:guide pos="537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80" d="100"/>
          <a:sy n="80" d="100"/>
        </p:scale>
        <p:origin x="-1974" y="-78"/>
      </p:cViewPr>
      <p:guideLst>
        <p:guide orient="horz" pos="2880"/>
        <p:guide pos="2160"/>
      </p:guideLst>
    </p:cSldViewPr>
  </p:notesViewPr>
  <p:gridSpacing cx="46085125" cy="4608512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38D1ED53-93A5-4C82-A607-A4DCB2517834}" type="datetimeFigureOut">
              <a:rPr lang="en-US"/>
              <a:pPr>
                <a:defRPr/>
              </a:pPr>
              <a:t>2/10/201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3B3BD910-0519-4CCC-9292-9D356232000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  <p:sp>
        <p:nvSpPr>
          <p:cNvPr id="2355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EBC3C738-87D8-4035-9EE7-DE07652E9FFD}" type="slidenum">
              <a:rPr lang="en-US" smtClean="0">
                <a:latin typeface="Arial" pitchFamily="34" charset="0"/>
              </a:rPr>
              <a:pPr/>
              <a:t>1</a:t>
            </a:fld>
            <a:endParaRPr 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DEL_RGB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188" y="549275"/>
            <a:ext cx="1782762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3400" y="3429000"/>
            <a:ext cx="4660900" cy="2578100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7050" y="6032500"/>
            <a:ext cx="6400800" cy="7747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2600" y="406400"/>
            <a:ext cx="6400800" cy="4622800"/>
          </a:xfrm>
        </p:spPr>
        <p:txBody>
          <a:bodyPr/>
          <a:lstStyle>
            <a:lvl1pPr marL="3175" indent="-3175">
              <a:tabLst/>
              <a:defRPr sz="6000" b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800" b="1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479CBF2-1C20-4688-BD23-55D78226C15A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Generic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88113" y="6356350"/>
            <a:ext cx="2133600" cy="365125"/>
          </a:xfrm>
        </p:spPr>
        <p:txBody>
          <a:bodyPr/>
          <a:lstStyle>
            <a:lvl1pPr algn="r">
              <a:defRPr sz="800" b="1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491D0EB-BEE6-4A9A-9951-4988462B62DB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2" name="Content Placeholder 2"/>
          <p:cNvSpPr>
            <a:spLocks noGrp="1"/>
          </p:cNvSpPr>
          <p:nvPr>
            <p:ph sz="half" idx="1"/>
          </p:nvPr>
        </p:nvSpPr>
        <p:spPr>
          <a:xfrm>
            <a:off x="611188" y="2762250"/>
            <a:ext cx="2360612" cy="2889250"/>
          </a:xfrm>
          <a:ln w="3175">
            <a:solidFill>
              <a:schemeClr val="accent3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9" name="SmartArt Placeholder 20"/>
          <p:cNvSpPr>
            <a:spLocks noGrp="1"/>
          </p:cNvSpPr>
          <p:nvPr>
            <p:ph type="dgm" sz="quarter" idx="16"/>
          </p:nvPr>
        </p:nvSpPr>
        <p:spPr>
          <a:xfrm>
            <a:off x="5861050" y="1962150"/>
            <a:ext cx="2711450" cy="755650"/>
          </a:xfrm>
          <a:prstGeom prst="homePlate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rgbClr val="FFFFFF"/>
            </a:solidFill>
          </a:ln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8" name="SmartArt Placeholder 20"/>
          <p:cNvSpPr>
            <a:spLocks noGrp="1"/>
          </p:cNvSpPr>
          <p:nvPr>
            <p:ph type="dgm" sz="quarter" idx="15"/>
          </p:nvPr>
        </p:nvSpPr>
        <p:spPr>
          <a:xfrm>
            <a:off x="3238500" y="1962150"/>
            <a:ext cx="2711450" cy="755650"/>
          </a:xfrm>
          <a:prstGeom prst="homePlate">
            <a:avLst/>
          </a:prstGeom>
          <a:solidFill>
            <a:schemeClr val="bg2"/>
          </a:solidFill>
          <a:ln>
            <a:solidFill>
              <a:srgbClr val="FFFFFF"/>
            </a:solidFill>
          </a:ln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21" name="SmartArt Placeholder 20"/>
          <p:cNvSpPr>
            <a:spLocks noGrp="1"/>
          </p:cNvSpPr>
          <p:nvPr>
            <p:ph type="dgm" sz="quarter" idx="14"/>
          </p:nvPr>
        </p:nvSpPr>
        <p:spPr>
          <a:xfrm>
            <a:off x="615950" y="1962150"/>
            <a:ext cx="2711450" cy="755650"/>
          </a:xfrm>
          <a:prstGeom prst="homePlate">
            <a:avLst/>
          </a:prstGeom>
          <a:solidFill>
            <a:schemeClr val="tx2"/>
          </a:solidFill>
          <a:ln>
            <a:solidFill>
              <a:srgbClr val="FFFFFF"/>
            </a:solidFill>
          </a:ln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32" name="Content Placeholder 2"/>
          <p:cNvSpPr>
            <a:spLocks noGrp="1"/>
          </p:cNvSpPr>
          <p:nvPr>
            <p:ph sz="half" idx="17"/>
          </p:nvPr>
        </p:nvSpPr>
        <p:spPr>
          <a:xfrm>
            <a:off x="3238500" y="2762250"/>
            <a:ext cx="2360612" cy="2889250"/>
          </a:xfrm>
          <a:ln w="3175">
            <a:solidFill>
              <a:schemeClr val="accent3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sz="half" idx="18"/>
          </p:nvPr>
        </p:nvSpPr>
        <p:spPr>
          <a:xfrm>
            <a:off x="5861050" y="2762250"/>
            <a:ext cx="2360612" cy="2889250"/>
          </a:xfrm>
          <a:ln w="3175">
            <a:solidFill>
              <a:schemeClr val="accent3">
                <a:lumMod val="75000"/>
              </a:schemeClr>
            </a:solidFill>
          </a:ln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19"/>
          </p:nvPr>
        </p:nvSpPr>
        <p:spPr>
          <a:xfrm>
            <a:off x="615950" y="1981200"/>
            <a:ext cx="2627312" cy="736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US" dirty="0"/>
          </a:p>
        </p:txBody>
      </p:sp>
      <p:sp>
        <p:nvSpPr>
          <p:cNvPr id="36" name="Text Placeholder 34"/>
          <p:cNvSpPr>
            <a:spLocks noGrp="1"/>
          </p:cNvSpPr>
          <p:nvPr>
            <p:ph type="body" sz="quarter" idx="20"/>
          </p:nvPr>
        </p:nvSpPr>
        <p:spPr>
          <a:xfrm>
            <a:off x="3371850" y="1981200"/>
            <a:ext cx="2489200" cy="736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US" dirty="0"/>
          </a:p>
        </p:txBody>
      </p:sp>
      <p:sp>
        <p:nvSpPr>
          <p:cNvPr id="37" name="Text Placeholder 34"/>
          <p:cNvSpPr>
            <a:spLocks noGrp="1"/>
          </p:cNvSpPr>
          <p:nvPr>
            <p:ph type="body" sz="quarter" idx="21"/>
          </p:nvPr>
        </p:nvSpPr>
        <p:spPr>
          <a:xfrm>
            <a:off x="5949950" y="1981200"/>
            <a:ext cx="2489200" cy="7366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22"/>
          </p:nvPr>
        </p:nvSpPr>
        <p:spPr>
          <a:xfrm>
            <a:off x="6488113" y="6356350"/>
            <a:ext cx="2133600" cy="365125"/>
          </a:xfrm>
        </p:spPr>
        <p:txBody>
          <a:bodyPr/>
          <a:lstStyle>
            <a:lvl1pPr algn="r">
              <a:defRPr sz="800" b="1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0718EEB-1542-4A1B-8899-3A565274302B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747837"/>
            <a:ext cx="3905250" cy="45259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0"/>
          </p:nvPr>
        </p:nvSpPr>
        <p:spPr>
          <a:xfrm>
            <a:off x="4660900" y="1747837"/>
            <a:ext cx="3867150" cy="45259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488113" y="6356350"/>
            <a:ext cx="2133600" cy="365125"/>
          </a:xfrm>
        </p:spPr>
        <p:txBody>
          <a:bodyPr/>
          <a:lstStyle>
            <a:lvl1pPr algn="r">
              <a:defRPr sz="800" b="1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BE0494F-F73F-4012-88EB-6DC3A6155775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DEL_RGB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188" y="549275"/>
            <a:ext cx="1782762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Content Placeholder 2"/>
          <p:cNvSpPr>
            <a:spLocks noGrp="1"/>
          </p:cNvSpPr>
          <p:nvPr>
            <p:ph sz="half" idx="12"/>
          </p:nvPr>
        </p:nvSpPr>
        <p:spPr>
          <a:xfrm>
            <a:off x="527050" y="4806950"/>
            <a:ext cx="8045450" cy="1466850"/>
          </a:xfrm>
        </p:spPr>
        <p:txBody>
          <a:bodyPr/>
          <a:lstStyle>
            <a:lvl1pPr>
              <a:defRPr sz="1200"/>
            </a:lvl1pPr>
            <a:lvl2pPr>
              <a:buNone/>
              <a:defRPr sz="12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3"/>
          </p:nvPr>
        </p:nvSpPr>
        <p:spPr>
          <a:xfrm>
            <a:off x="6488113" y="6356350"/>
            <a:ext cx="2133600" cy="365125"/>
          </a:xfrm>
        </p:spPr>
        <p:txBody>
          <a:bodyPr/>
          <a:lstStyle>
            <a:lvl1pPr algn="r">
              <a:defRPr sz="800" b="1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D1C3549-9C20-45CD-98E9-E2D639664F8F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ovie/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p:oleObj spid="_x0000_s30722" name="think-cell Slide" r:id="rId5" imgW="0" imgH="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2"/>
          </p:nvPr>
        </p:nvSpPr>
        <p:spPr>
          <a:xfrm>
            <a:off x="4660900" y="1747837"/>
            <a:ext cx="3867150" cy="45259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2" name="Media Placeholder 11"/>
          <p:cNvSpPr>
            <a:spLocks noGrp="1"/>
          </p:cNvSpPr>
          <p:nvPr>
            <p:ph type="media" sz="quarter" idx="13"/>
          </p:nvPr>
        </p:nvSpPr>
        <p:spPr>
          <a:xfrm>
            <a:off x="527050" y="1739900"/>
            <a:ext cx="3911600" cy="45339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14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E9C2CC-3BF1-4895-A2FB-505FAA529EF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5"/>
            <p:custDataLst>
              <p:tags r:id="rId3"/>
            </p:custDataLst>
          </p:nvPr>
        </p:nvSpPr>
        <p:spPr>
          <a:xfrm>
            <a:off x="52705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© 2010 Deloitte Touche Tohmatsu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dt" sz="half" idx="10"/>
          </p:nvPr>
        </p:nvSpPr>
        <p:spPr>
          <a:xfrm>
            <a:off x="152400" y="5562600"/>
            <a:ext cx="1905000" cy="3048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152400" y="5867400"/>
            <a:ext cx="2590800" cy="3048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4EDA4F-EFC2-45D3-98BD-2791B00D6C8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82600" y="406400"/>
            <a:ext cx="8045450" cy="1214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22288" y="1739900"/>
            <a:ext cx="8005762" cy="4341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522288" y="6350000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1125"/>
              </a:lnSpc>
              <a:defRPr sz="800">
                <a:solidFill>
                  <a:srgbClr val="002776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AU" dirty="0" smtClean="0"/>
              <a:t>© 2010 Deloitte Touche Tohmatsu</a:t>
            </a:r>
            <a:endParaRPr lang="en-AU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8307388" y="6453188"/>
            <a:ext cx="184150" cy="2159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endParaRPr lang="en-US" sz="8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488113" y="6354763"/>
            <a:ext cx="2133600" cy="365125"/>
          </a:xfrm>
          <a:prstGeom prst="rect">
            <a:avLst/>
          </a:prstGeom>
        </p:spPr>
        <p:txBody>
          <a:bodyPr anchor="ctr"/>
          <a:lstStyle>
            <a:lvl1pPr algn="r">
              <a:defRPr sz="800" b="1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4B718FB-752A-49A3-9FD0-32E14F3D1F7D}" type="slidenum">
              <a:rPr lang="en-AU"/>
              <a:pPr>
                <a:defRPr/>
              </a:pPr>
              <a:t>‹#›</a:t>
            </a:fld>
            <a:endParaRPr lang="en-A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8" r:id="rId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57188" indent="-357188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712788" indent="-355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1243013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gif"/><Relationship Id="rId5" Type="http://schemas.openxmlformats.org/officeDocument/2006/relationships/image" Target="../media/image6.png"/><Relationship Id="rId4" Type="http://schemas.openxmlformats.org/officeDocument/2006/relationships/image" Target="../media/image5.gi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atched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697125" y="3203975"/>
            <a:ext cx="2932584" cy="3482443"/>
          </a:xfrm>
          <a:prstGeom prst="rect">
            <a:avLst/>
          </a:prstGeom>
        </p:spPr>
      </p:pic>
      <p:sp>
        <p:nvSpPr>
          <p:cNvPr id="9218" name="Title 1"/>
          <p:cNvSpPr>
            <a:spLocks noGrp="1"/>
          </p:cNvSpPr>
          <p:nvPr>
            <p:ph type="ctrTitle"/>
          </p:nvPr>
        </p:nvSpPr>
        <p:spPr>
          <a:xfrm>
            <a:off x="488395" y="2483895"/>
            <a:ext cx="7819020" cy="2578100"/>
          </a:xfrm>
        </p:spPr>
        <p:txBody>
          <a:bodyPr/>
          <a:lstStyle/>
          <a:p>
            <a:pPr eaLnBrk="1" hangingPunct="1">
              <a:defRPr/>
            </a:pPr>
            <a:r>
              <a:rPr lang="en-IE" dirty="0" smtClean="0"/>
              <a:t>A Career in Human Resources</a:t>
            </a:r>
            <a:endParaRPr lang="en-US" dirty="0" smtClean="0">
              <a:solidFill>
                <a:schemeClr val="accent6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>
                <a:solidFill>
                  <a:srgbClr val="002060"/>
                </a:solidFill>
              </a:rPr>
              <a:t>Employee Relations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Policies and Procedures</a:t>
            </a:r>
          </a:p>
          <a:p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Disciplinary Action</a:t>
            </a:r>
          </a:p>
          <a:p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Unions / Industrial Relations</a:t>
            </a:r>
          </a:p>
          <a:p>
            <a:pPr>
              <a:buFont typeface="Arial" pitchFamily="34" charset="0"/>
              <a:buChar char="•"/>
            </a:pPr>
            <a:endParaRPr lang="en-IE" dirty="0" smtClean="0">
              <a:solidFill>
                <a:srgbClr val="002060"/>
              </a:solidFill>
            </a:endParaRPr>
          </a:p>
          <a:p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491D0EB-BEE6-4A9A-9951-4988462B62DB}" type="slidenum">
              <a:rPr lang="en-AU" smtClean="0"/>
              <a:pPr>
                <a:defRPr/>
              </a:pPr>
              <a:t>10</a:t>
            </a:fld>
            <a:endParaRPr lang="en-AU"/>
          </a:p>
        </p:txBody>
      </p:sp>
      <p:pic>
        <p:nvPicPr>
          <p:cNvPr id="5" name="Picture 4" descr="boxing%20gloves_jpg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617005" y="2033846"/>
            <a:ext cx="3754336" cy="26515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>
                <a:solidFill>
                  <a:srgbClr val="002060"/>
                </a:solidFill>
              </a:rPr>
              <a:t>Employer of Choice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Wellness Programme</a:t>
            </a:r>
          </a:p>
          <a:p>
            <a:pPr>
              <a:buFont typeface="Arial" pitchFamily="34" charset="0"/>
              <a:buChar char="•"/>
            </a:pPr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Best companies to work</a:t>
            </a:r>
          </a:p>
          <a:p>
            <a:pPr>
              <a:buFont typeface="Arial" pitchFamily="34" charset="0"/>
              <a:buChar char="•"/>
            </a:pP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491D0EB-BEE6-4A9A-9951-4988462B62DB}" type="slidenum">
              <a:rPr lang="en-AU" smtClean="0"/>
              <a:pPr>
                <a:defRPr/>
              </a:pPr>
              <a:t>11</a:t>
            </a:fld>
            <a:endParaRPr lang="en-AU"/>
          </a:p>
        </p:txBody>
      </p:sp>
      <p:pic>
        <p:nvPicPr>
          <p:cNvPr id="5" name="Picture 4" descr="apple61(994747).g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022049" y="1823610"/>
            <a:ext cx="2835315" cy="31503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>
                <a:solidFill>
                  <a:srgbClr val="002060"/>
                </a:solidFill>
              </a:rPr>
              <a:t>HR Consulting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Psychometric Testing</a:t>
            </a:r>
          </a:p>
          <a:p>
            <a:pPr>
              <a:buFont typeface="Arial" pitchFamily="34" charset="0"/>
              <a:buChar char="•"/>
            </a:pPr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Assessment Centres</a:t>
            </a:r>
          </a:p>
          <a:p>
            <a:pPr>
              <a:buFont typeface="Arial" pitchFamily="34" charset="0"/>
              <a:buChar char="•"/>
            </a:pPr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HR Systems &amp; Reporting (MIS)</a:t>
            </a:r>
          </a:p>
          <a:p>
            <a:pPr>
              <a:buFont typeface="Arial" pitchFamily="34" charset="0"/>
              <a:buChar char="•"/>
            </a:pPr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HR Thought Leadership</a:t>
            </a:r>
          </a:p>
          <a:p>
            <a:pPr>
              <a:buFont typeface="Arial" pitchFamily="34" charset="0"/>
              <a:buChar char="•"/>
            </a:pPr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HR Metrics &amp; Efficiencies</a:t>
            </a:r>
          </a:p>
          <a:p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Change Management </a:t>
            </a:r>
          </a:p>
          <a:p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Learning and development plans</a:t>
            </a:r>
          </a:p>
          <a:p>
            <a:pPr>
              <a:buFont typeface="Arial" pitchFamily="34" charset="0"/>
              <a:buChar char="•"/>
            </a:pPr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491D0EB-BEE6-4A9A-9951-4988462B62DB}" type="slidenum">
              <a:rPr lang="en-AU" smtClean="0"/>
              <a:pPr>
                <a:defRPr/>
              </a:pPr>
              <a:t>12</a:t>
            </a:fld>
            <a:endParaRPr lang="en-AU"/>
          </a:p>
        </p:txBody>
      </p:sp>
      <p:pic>
        <p:nvPicPr>
          <p:cNvPr id="6" name="Picture 5" descr="Help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112059" y="1217585"/>
            <a:ext cx="2835315" cy="28353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3400" y="3158970"/>
            <a:ext cx="6288850" cy="2578100"/>
          </a:xfrm>
        </p:spPr>
        <p:txBody>
          <a:bodyPr/>
          <a:lstStyle/>
          <a:p>
            <a:r>
              <a:rPr lang="en-IE" dirty="0" smtClean="0"/>
              <a:t>Questions &amp; Answer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IE" dirty="0" smtClean="0"/>
          </a:p>
          <a:p>
            <a:endParaRPr lang="en-IE" dirty="0" smtClean="0"/>
          </a:p>
          <a:p>
            <a:r>
              <a:rPr lang="en-IE" dirty="0" smtClean="0"/>
              <a:t>Thank You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479CBF2-1C20-4688-BD23-55D78226C15A}" type="slidenum">
              <a:rPr lang="en-AU" smtClean="0"/>
              <a:pPr>
                <a:defRPr/>
              </a:pPr>
              <a:t>14</a:t>
            </a:fld>
            <a:endParaRPr lang="en-A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74EDA4F-EFC2-45D3-98BD-2791B00D6C82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sp>
        <p:nvSpPr>
          <p:cNvPr id="4" name="Text Placeholder 5"/>
          <p:cNvSpPr txBox="1">
            <a:spLocks/>
          </p:cNvSpPr>
          <p:nvPr/>
        </p:nvSpPr>
        <p:spPr bwMode="auto">
          <a:xfrm>
            <a:off x="482600" y="406400"/>
            <a:ext cx="6400800" cy="462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175" marR="0" lvl="0" indent="-317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Introductions</a:t>
            </a:r>
          </a:p>
          <a:p>
            <a:pPr marL="3175" marR="0" lvl="0" indent="-3175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60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1560" y="2708920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IE" sz="3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Emer Brennan</a:t>
            </a:r>
          </a:p>
          <a:p>
            <a:r>
              <a:rPr lang="en-IE" dirty="0" smtClean="0">
                <a:solidFill>
                  <a:srgbClr val="002060"/>
                </a:solidFill>
              </a:rPr>
              <a:t>Human Resources </a:t>
            </a:r>
            <a:r>
              <a:rPr lang="en-IE" dirty="0" smtClean="0">
                <a:solidFill>
                  <a:srgbClr val="002060"/>
                </a:solidFill>
              </a:rPr>
              <a:t>Manager, Deloitte</a:t>
            </a:r>
            <a:endParaRPr lang="en-IE" dirty="0" smtClean="0">
              <a:solidFill>
                <a:srgbClr val="002060"/>
              </a:solidFill>
            </a:endParaRPr>
          </a:p>
        </p:txBody>
      </p:sp>
      <p:cxnSp>
        <p:nvCxnSpPr>
          <p:cNvPr id="9" name="Curved Connector 8"/>
          <p:cNvCxnSpPr/>
          <p:nvPr/>
        </p:nvCxnSpPr>
        <p:spPr>
          <a:xfrm flipV="1">
            <a:off x="3851920" y="1943834"/>
            <a:ext cx="3690410" cy="3285366"/>
          </a:xfrm>
          <a:prstGeom prst="curvedConnector3">
            <a:avLst>
              <a:gd name="adj1" fmla="val 50000"/>
            </a:avLst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urved Connector 12"/>
          <p:cNvCxnSpPr/>
          <p:nvPr/>
        </p:nvCxnSpPr>
        <p:spPr>
          <a:xfrm flipV="1">
            <a:off x="4465344" y="2663914"/>
            <a:ext cx="3842071" cy="3420381"/>
          </a:xfrm>
          <a:prstGeom prst="curvedConnector3">
            <a:avLst>
              <a:gd name="adj1" fmla="val 50000"/>
            </a:avLst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urved Connector 13"/>
          <p:cNvCxnSpPr/>
          <p:nvPr/>
        </p:nvCxnSpPr>
        <p:spPr>
          <a:xfrm flipV="1">
            <a:off x="4436985" y="2438890"/>
            <a:ext cx="3285365" cy="3195354"/>
          </a:xfrm>
          <a:prstGeom prst="curvedConnector3">
            <a:avLst>
              <a:gd name="adj1" fmla="val 50000"/>
            </a:avLst>
          </a:prstGeom>
          <a:ln w="25400">
            <a:solidFill>
              <a:srgbClr val="00206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/>
          <p:cNvGrpSpPr/>
          <p:nvPr/>
        </p:nvGrpSpPr>
        <p:grpSpPr>
          <a:xfrm>
            <a:off x="2366755" y="4824155"/>
            <a:ext cx="1530170" cy="1620180"/>
            <a:chOff x="2366755" y="4824155"/>
            <a:chExt cx="1530170" cy="1620180"/>
          </a:xfrm>
        </p:grpSpPr>
        <p:sp>
          <p:nvSpPr>
            <p:cNvPr id="26" name="Rectangle 25"/>
            <p:cNvSpPr/>
            <p:nvPr/>
          </p:nvSpPr>
          <p:spPr>
            <a:xfrm>
              <a:off x="3041830" y="5544235"/>
              <a:ext cx="180020" cy="900100"/>
            </a:xfrm>
            <a:prstGeom prst="rect">
              <a:avLst/>
            </a:prstGeom>
            <a:solidFill>
              <a:srgbClr val="B85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ounded Rectangle 24"/>
            <p:cNvSpPr/>
            <p:nvPr/>
          </p:nvSpPr>
          <p:spPr>
            <a:xfrm>
              <a:off x="2366755" y="4824155"/>
              <a:ext cx="1530170" cy="810092"/>
            </a:xfrm>
            <a:prstGeom prst="roundRect">
              <a:avLst/>
            </a:prstGeom>
            <a:solidFill>
              <a:srgbClr val="619428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E" b="1" dirty="0" smtClean="0">
                  <a:solidFill>
                    <a:schemeClr val="accent2"/>
                  </a:solidFill>
                </a:rPr>
                <a:t>2001 – 2004</a:t>
              </a:r>
            </a:p>
            <a:p>
              <a:pPr algn="ctr"/>
              <a:r>
                <a:rPr lang="en-IE" b="1" dirty="0" smtClean="0">
                  <a:solidFill>
                    <a:schemeClr val="accent2"/>
                  </a:solidFill>
                </a:rPr>
                <a:t>UCD</a:t>
              </a:r>
            </a:p>
            <a:p>
              <a:pPr algn="ctr"/>
              <a:r>
                <a:rPr lang="en-IE" b="1" dirty="0" smtClean="0">
                  <a:solidFill>
                    <a:schemeClr val="accent2"/>
                  </a:solidFill>
                </a:rPr>
                <a:t>B.Soc.Sci</a:t>
              </a:r>
              <a:endParaRPr lang="en-US" b="1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3761910" y="3924055"/>
            <a:ext cx="1530170" cy="1620180"/>
            <a:chOff x="3761910" y="3924055"/>
            <a:chExt cx="1530170" cy="1620180"/>
          </a:xfrm>
        </p:grpSpPr>
        <p:sp>
          <p:nvSpPr>
            <p:cNvPr id="29" name="Rectangle 28"/>
            <p:cNvSpPr/>
            <p:nvPr/>
          </p:nvSpPr>
          <p:spPr>
            <a:xfrm>
              <a:off x="4436985" y="4644135"/>
              <a:ext cx="180020" cy="900100"/>
            </a:xfrm>
            <a:prstGeom prst="rect">
              <a:avLst/>
            </a:prstGeom>
            <a:solidFill>
              <a:srgbClr val="B85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3761910" y="3924055"/>
              <a:ext cx="1530170" cy="810092"/>
            </a:xfrm>
            <a:prstGeom prst="roundRect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E" b="1" dirty="0" smtClean="0">
                  <a:solidFill>
                    <a:srgbClr val="002060"/>
                  </a:solidFill>
                </a:rPr>
                <a:t>2004</a:t>
              </a:r>
            </a:p>
            <a:p>
              <a:pPr algn="ctr"/>
              <a:r>
                <a:rPr lang="en-IE" b="1" dirty="0" smtClean="0">
                  <a:solidFill>
                    <a:srgbClr val="002060"/>
                  </a:solidFill>
                </a:rPr>
                <a:t>HR PwC</a:t>
              </a:r>
            </a:p>
            <a:p>
              <a:pPr algn="ctr"/>
              <a:r>
                <a:rPr lang="en-IE" b="1" dirty="0" smtClean="0">
                  <a:solidFill>
                    <a:srgbClr val="002060"/>
                  </a:solidFill>
                </a:rPr>
                <a:t>Internship</a:t>
              </a:r>
              <a:endParaRPr lang="en-US" b="1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5382090" y="3519010"/>
            <a:ext cx="1530170" cy="1665185"/>
            <a:chOff x="5382090" y="3519010"/>
            <a:chExt cx="1530170" cy="1665185"/>
          </a:xfrm>
        </p:grpSpPr>
        <p:sp>
          <p:nvSpPr>
            <p:cNvPr id="32" name="Rectangle 31"/>
            <p:cNvSpPr/>
            <p:nvPr/>
          </p:nvSpPr>
          <p:spPr>
            <a:xfrm>
              <a:off x="6012160" y="4284095"/>
              <a:ext cx="180020" cy="900100"/>
            </a:xfrm>
            <a:prstGeom prst="rect">
              <a:avLst/>
            </a:prstGeom>
            <a:solidFill>
              <a:srgbClr val="B85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ounded Rectangle 30"/>
            <p:cNvSpPr/>
            <p:nvPr/>
          </p:nvSpPr>
          <p:spPr>
            <a:xfrm>
              <a:off x="5382090" y="3519010"/>
              <a:ext cx="1530170" cy="810092"/>
            </a:xfrm>
            <a:prstGeom prst="roundRect">
              <a:avLst/>
            </a:prstGeom>
            <a:solidFill>
              <a:srgbClr val="619428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E" b="1" dirty="0" smtClean="0">
                  <a:solidFill>
                    <a:schemeClr val="accent2"/>
                  </a:solidFill>
                </a:rPr>
                <a:t>2004-2005</a:t>
              </a:r>
            </a:p>
            <a:p>
              <a:pPr algn="ctr"/>
              <a:r>
                <a:rPr lang="en-IE" b="1" dirty="0" smtClean="0">
                  <a:solidFill>
                    <a:schemeClr val="accent2"/>
                  </a:solidFill>
                </a:rPr>
                <a:t>DIT</a:t>
              </a:r>
            </a:p>
            <a:p>
              <a:pPr algn="ctr"/>
              <a:r>
                <a:rPr lang="en-IE" b="1" dirty="0" smtClean="0">
                  <a:solidFill>
                    <a:schemeClr val="accent2"/>
                  </a:solidFill>
                </a:rPr>
                <a:t>MA PR</a:t>
              </a:r>
              <a:endParaRPr lang="en-US" b="1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4842030" y="1808820"/>
            <a:ext cx="1530170" cy="1665185"/>
            <a:chOff x="4977045" y="2033845"/>
            <a:chExt cx="1530170" cy="1665185"/>
          </a:xfrm>
        </p:grpSpPr>
        <p:sp>
          <p:nvSpPr>
            <p:cNvPr id="33" name="Rectangle 32"/>
            <p:cNvSpPr/>
            <p:nvPr/>
          </p:nvSpPr>
          <p:spPr>
            <a:xfrm>
              <a:off x="5652120" y="2798930"/>
              <a:ext cx="180020" cy="900100"/>
            </a:xfrm>
            <a:prstGeom prst="rect">
              <a:avLst/>
            </a:prstGeom>
            <a:solidFill>
              <a:srgbClr val="B85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ounded Rectangle 33"/>
            <p:cNvSpPr/>
            <p:nvPr/>
          </p:nvSpPr>
          <p:spPr>
            <a:xfrm>
              <a:off x="4977045" y="2033845"/>
              <a:ext cx="1530170" cy="810092"/>
            </a:xfrm>
            <a:prstGeom prst="roundRect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E" b="1" dirty="0" smtClean="0">
                  <a:solidFill>
                    <a:srgbClr val="002060"/>
                  </a:solidFill>
                </a:rPr>
                <a:t>2005 - 2007</a:t>
              </a:r>
            </a:p>
            <a:p>
              <a:pPr algn="ctr"/>
              <a:r>
                <a:rPr lang="en-IE" b="1" dirty="0" smtClean="0">
                  <a:solidFill>
                    <a:srgbClr val="002060"/>
                  </a:solidFill>
                </a:rPr>
                <a:t>PwC HR</a:t>
              </a:r>
            </a:p>
            <a:p>
              <a:pPr algn="ctr"/>
              <a:r>
                <a:rPr lang="en-IE" b="1" dirty="0" smtClean="0">
                  <a:solidFill>
                    <a:srgbClr val="002060"/>
                  </a:solidFill>
                </a:rPr>
                <a:t>HR Admin</a:t>
              </a:r>
              <a:endParaRPr lang="en-US" b="1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6417205" y="1358770"/>
            <a:ext cx="1530170" cy="1665185"/>
            <a:chOff x="6417205" y="1358770"/>
            <a:chExt cx="1530170" cy="1665185"/>
          </a:xfrm>
        </p:grpSpPr>
        <p:sp>
          <p:nvSpPr>
            <p:cNvPr id="35" name="Rectangle 34"/>
            <p:cNvSpPr/>
            <p:nvPr/>
          </p:nvSpPr>
          <p:spPr>
            <a:xfrm>
              <a:off x="7092280" y="2123855"/>
              <a:ext cx="180020" cy="900100"/>
            </a:xfrm>
            <a:prstGeom prst="rect">
              <a:avLst/>
            </a:prstGeom>
            <a:solidFill>
              <a:srgbClr val="B85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ounded Rectangle 35"/>
            <p:cNvSpPr/>
            <p:nvPr/>
          </p:nvSpPr>
          <p:spPr>
            <a:xfrm>
              <a:off x="6417205" y="1358770"/>
              <a:ext cx="1530170" cy="810092"/>
            </a:xfrm>
            <a:prstGeom prst="roundRect">
              <a:avLst/>
            </a:prstGeom>
            <a:solidFill>
              <a:srgbClr val="619428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E" b="1" dirty="0" smtClean="0">
                  <a:solidFill>
                    <a:schemeClr val="accent2"/>
                  </a:solidFill>
                </a:rPr>
                <a:t>2006-2009</a:t>
              </a:r>
            </a:p>
            <a:p>
              <a:pPr algn="ctr"/>
              <a:r>
                <a:rPr lang="en-IE" b="1" dirty="0" smtClean="0">
                  <a:solidFill>
                    <a:schemeClr val="accent2"/>
                  </a:solidFill>
                </a:rPr>
                <a:t>NCI</a:t>
              </a:r>
            </a:p>
            <a:p>
              <a:pPr algn="ctr"/>
              <a:r>
                <a:rPr lang="en-IE" b="1" dirty="0" smtClean="0">
                  <a:solidFill>
                    <a:schemeClr val="accent2"/>
                  </a:solidFill>
                </a:rPr>
                <a:t>BA HRM</a:t>
              </a:r>
              <a:endParaRPr lang="en-US" b="1" dirty="0">
                <a:solidFill>
                  <a:schemeClr val="accent2"/>
                </a:solidFill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7407315" y="503675"/>
            <a:ext cx="1530170" cy="1620180"/>
            <a:chOff x="7407315" y="503675"/>
            <a:chExt cx="1530170" cy="1620180"/>
          </a:xfrm>
        </p:grpSpPr>
        <p:sp>
          <p:nvSpPr>
            <p:cNvPr id="37" name="Rectangle 36"/>
            <p:cNvSpPr/>
            <p:nvPr/>
          </p:nvSpPr>
          <p:spPr>
            <a:xfrm>
              <a:off x="8082390" y="1223755"/>
              <a:ext cx="180020" cy="900100"/>
            </a:xfrm>
            <a:prstGeom prst="rect">
              <a:avLst/>
            </a:prstGeom>
            <a:solidFill>
              <a:srgbClr val="B85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ounded Rectangle 37"/>
            <p:cNvSpPr/>
            <p:nvPr/>
          </p:nvSpPr>
          <p:spPr>
            <a:xfrm>
              <a:off x="7407315" y="503675"/>
              <a:ext cx="1530170" cy="810092"/>
            </a:xfrm>
            <a:prstGeom prst="roundRect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E" b="1" dirty="0" smtClean="0">
                  <a:solidFill>
                    <a:srgbClr val="002060"/>
                  </a:solidFill>
                </a:rPr>
                <a:t>2007 - now</a:t>
              </a:r>
            </a:p>
            <a:p>
              <a:pPr algn="ctr"/>
              <a:r>
                <a:rPr lang="en-IE" b="1" dirty="0" smtClean="0">
                  <a:solidFill>
                    <a:srgbClr val="002060"/>
                  </a:solidFill>
                </a:rPr>
                <a:t>Deloitte</a:t>
              </a:r>
            </a:p>
            <a:p>
              <a:pPr algn="ctr"/>
              <a:r>
                <a:rPr lang="en-IE" b="1" dirty="0" smtClean="0">
                  <a:solidFill>
                    <a:srgbClr val="002060"/>
                  </a:solidFill>
                </a:rPr>
                <a:t>HR BP</a:t>
              </a:r>
              <a:endParaRPr lang="en-US" b="1" dirty="0">
                <a:solidFill>
                  <a:srgbClr val="002060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CC135D2-2D53-401F-B40C-EB0809FE8855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06515" y="188640"/>
            <a:ext cx="7819020" cy="990110"/>
          </a:xfrm>
          <a:prstGeom prst="rect">
            <a:avLst/>
          </a:prstGeom>
        </p:spPr>
        <p:txBody>
          <a:bodyPr/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j-ea"/>
                <a:cs typeface="Arial" pitchFamily="34" charset="0"/>
              </a:rPr>
              <a:t>Why Human Resources?</a:t>
            </a:r>
            <a:endParaRPr kumimoji="0" lang="en-US" sz="44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+mj-ea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41530" y="1088740"/>
            <a:ext cx="2160240" cy="523220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IE" sz="28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ttracting</a:t>
            </a:r>
            <a:endParaRPr lang="en-US" sz="280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816805" y="3023955"/>
            <a:ext cx="2160240" cy="523220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IE" sz="28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ployment</a:t>
            </a:r>
            <a:endParaRPr lang="en-US" sz="280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986935" y="4104075"/>
            <a:ext cx="2655295" cy="523220"/>
          </a:xfrm>
          <a:prstGeom prst="rect">
            <a:avLst/>
          </a:prstGeom>
          <a:noFill/>
          <a:ln>
            <a:solidFill>
              <a:srgbClr val="619428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IE" sz="2800" dirty="0" smtClean="0">
                <a:solidFill>
                  <a:srgbClr val="61942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velopment</a:t>
            </a:r>
            <a:endParaRPr lang="en-US" sz="2800" dirty="0">
              <a:solidFill>
                <a:srgbClr val="619428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607115" y="5454225"/>
            <a:ext cx="216024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sz="3800" dirty="0" smtClean="0">
                <a:solidFill>
                  <a:srgbClr val="619428"/>
                </a:solidFill>
              </a:rPr>
              <a:t>=</a:t>
            </a:r>
            <a:endParaRPr lang="en-US" sz="3800" dirty="0">
              <a:solidFill>
                <a:srgbClr val="619428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427095" y="6129300"/>
            <a:ext cx="3510390" cy="523220"/>
          </a:xfrm>
          <a:prstGeom prst="rect">
            <a:avLst/>
          </a:prstGeom>
          <a:solidFill>
            <a:srgbClr val="FFC000"/>
          </a:solidFill>
          <a:ln w="76200">
            <a:solidFill>
              <a:srgbClr val="619428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IE" sz="2800" b="1" dirty="0" smtClean="0">
                <a:solidFill>
                  <a:srgbClr val="619428"/>
                </a:solidFill>
              </a:rPr>
              <a:t>Effective Business</a:t>
            </a:r>
            <a:endParaRPr lang="en-US" sz="2800" b="1" dirty="0">
              <a:solidFill>
                <a:srgbClr val="619428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36585" y="1493785"/>
            <a:ext cx="216024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sz="3800" dirty="0" smtClean="0">
                <a:solidFill>
                  <a:srgbClr val="619428"/>
                </a:solidFill>
              </a:rPr>
              <a:t>+</a:t>
            </a:r>
            <a:endParaRPr lang="en-US" sz="3800" dirty="0">
              <a:solidFill>
                <a:srgbClr val="619428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996825" y="3519010"/>
            <a:ext cx="216024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sz="3800" dirty="0" smtClean="0">
                <a:solidFill>
                  <a:srgbClr val="619428"/>
                </a:solidFill>
              </a:rPr>
              <a:t>+</a:t>
            </a:r>
            <a:endParaRPr lang="en-US" sz="3800" dirty="0">
              <a:solidFill>
                <a:srgbClr val="619428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826695" y="2078850"/>
            <a:ext cx="2160240" cy="523220"/>
          </a:xfrm>
          <a:prstGeom prst="rect">
            <a:avLst/>
          </a:prstGeom>
          <a:noFill/>
          <a:ln>
            <a:solidFill>
              <a:srgbClr val="619428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IE" sz="2800" dirty="0" smtClean="0">
                <a:solidFill>
                  <a:srgbClr val="619428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taining</a:t>
            </a:r>
            <a:endParaRPr lang="en-US" sz="2800" dirty="0">
              <a:solidFill>
                <a:srgbClr val="619428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826695" y="2483895"/>
            <a:ext cx="216024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sz="3800" dirty="0" smtClean="0">
                <a:solidFill>
                  <a:srgbClr val="619428"/>
                </a:solidFill>
              </a:rPr>
              <a:t>+</a:t>
            </a:r>
            <a:endParaRPr lang="en-US" sz="3800" dirty="0">
              <a:solidFill>
                <a:srgbClr val="619428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797025" y="5066020"/>
            <a:ext cx="2520280" cy="523220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IE" sz="28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ward</a:t>
            </a:r>
            <a:endParaRPr lang="en-US" sz="2800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211960" y="4480955"/>
            <a:ext cx="216024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sz="3800" dirty="0" smtClean="0">
                <a:solidFill>
                  <a:srgbClr val="619428"/>
                </a:solidFill>
              </a:rPr>
              <a:t>+</a:t>
            </a:r>
            <a:endParaRPr lang="en-US" sz="3800" dirty="0">
              <a:solidFill>
                <a:srgbClr val="619428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0"/>
                            </p:stCondLst>
                            <p:childTnLst>
                              <p:par>
                                <p:cTn id="1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9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0"/>
                            </p:stCondLst>
                            <p:childTnLst>
                              <p:par>
                                <p:cTn id="1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9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9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0"/>
                            </p:stCondLst>
                            <p:childTnLst>
                              <p:par>
                                <p:cTn id="37" presetID="19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9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0"/>
                            </p:stCondLst>
                            <p:childTnLst>
                              <p:par>
                                <p:cTn id="4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55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6" presetClass="emph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8" dur="2000" fill="hold"/>
                                        <p:tgtEl>
                                          <p:spTgt spid="1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/>
      <p:bldP spid="13" grpId="1" animBg="1"/>
      <p:bldP spid="13" grpId="2" animBg="1"/>
      <p:bldP spid="14" grpId="0"/>
      <p:bldP spid="15" grpId="0"/>
      <p:bldP spid="16" grpId="0" animBg="1"/>
      <p:bldP spid="17" grpId="0"/>
      <p:bldP spid="18" grpId="0" animBg="1"/>
      <p:bldP spid="1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>
                <a:solidFill>
                  <a:srgbClr val="002060"/>
                </a:solidFill>
              </a:rPr>
              <a:t>UCD and beyond…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491D0EB-BEE6-4A9A-9951-4988462B62DB}" type="slidenum">
              <a:rPr lang="en-AU" smtClean="0"/>
              <a:pPr>
                <a:defRPr/>
              </a:pPr>
              <a:t>4</a:t>
            </a:fld>
            <a:endParaRPr lang="en-AU"/>
          </a:p>
        </p:txBody>
      </p:sp>
      <p:pic>
        <p:nvPicPr>
          <p:cNvPr id="5" name="Picture 4" descr="Door 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681790" y="2033845"/>
            <a:ext cx="3742726" cy="4366514"/>
          </a:xfrm>
          <a:prstGeom prst="rect">
            <a:avLst/>
          </a:prstGeom>
        </p:spPr>
      </p:pic>
      <p:pic>
        <p:nvPicPr>
          <p:cNvPr id="6" name="Picture 5" descr="Graduate Hat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21550" y="3789040"/>
            <a:ext cx="2117080" cy="2117080"/>
          </a:xfrm>
          <a:prstGeom prst="rect">
            <a:avLst/>
          </a:prstGeom>
        </p:spPr>
      </p:pic>
      <p:pic>
        <p:nvPicPr>
          <p:cNvPr id="7" name="Picture 6" descr="CIPD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452320" y="728700"/>
            <a:ext cx="990110" cy="990110"/>
          </a:xfrm>
          <a:prstGeom prst="rect">
            <a:avLst/>
          </a:prstGeom>
        </p:spPr>
      </p:pic>
      <p:pic>
        <p:nvPicPr>
          <p:cNvPr id="40962" name="Picture 2"/>
          <p:cNvPicPr>
            <a:picLocks noChangeAspect="1" noChangeArrowheads="1"/>
          </p:cNvPicPr>
          <p:nvPr/>
        </p:nvPicPr>
        <p:blipFill>
          <a:blip r:embed="rId5" cstate="print"/>
          <a:srcRect l="11190" t="20439" r="55123" b="66072"/>
          <a:stretch>
            <a:fillRect/>
          </a:stretch>
        </p:blipFill>
        <p:spPr bwMode="auto">
          <a:xfrm>
            <a:off x="5832140" y="2078850"/>
            <a:ext cx="3061415" cy="737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 descr="IBEC.gif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462210" y="3248980"/>
            <a:ext cx="810090" cy="1338410"/>
          </a:xfrm>
          <a:prstGeom prst="rect">
            <a:avLst/>
          </a:prstGeom>
        </p:spPr>
      </p:pic>
      <p:pic>
        <p:nvPicPr>
          <p:cNvPr id="10" name="Picture 6" descr="DEL_RGB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092280" y="5139190"/>
            <a:ext cx="1782762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1530" y="406400"/>
            <a:ext cx="8045450" cy="1214438"/>
          </a:xfrm>
        </p:spPr>
        <p:txBody>
          <a:bodyPr/>
          <a:lstStyle/>
          <a:p>
            <a:r>
              <a:rPr lang="en-IE" dirty="0" smtClean="0">
                <a:solidFill>
                  <a:srgbClr val="002060"/>
                </a:solidFill>
              </a:rPr>
              <a:t>Career Ladder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491D0EB-BEE6-4A9A-9951-4988462B62DB}" type="slidenum">
              <a:rPr lang="en-AU" smtClean="0"/>
              <a:pPr>
                <a:defRPr/>
              </a:pPr>
              <a:t>5</a:t>
            </a:fld>
            <a:endParaRPr lang="en-AU"/>
          </a:p>
        </p:txBody>
      </p:sp>
      <p:pic>
        <p:nvPicPr>
          <p:cNvPr id="12" name="Picture 11" descr="referral-ladder_web.jpg"/>
          <p:cNvPicPr>
            <a:picLocks noChangeAspect="1"/>
          </p:cNvPicPr>
          <p:nvPr/>
        </p:nvPicPr>
        <p:blipFill>
          <a:blip r:embed="rId2" cstate="print"/>
          <a:srcRect l="33528" t="32938" r="3890"/>
          <a:stretch>
            <a:fillRect/>
          </a:stretch>
        </p:blipFill>
        <p:spPr>
          <a:xfrm>
            <a:off x="5157065" y="0"/>
            <a:ext cx="3986935" cy="6858000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691680" y="5804973"/>
            <a:ext cx="2160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b="1" dirty="0" smtClean="0">
                <a:solidFill>
                  <a:srgbClr val="002060"/>
                </a:solidFill>
              </a:rPr>
              <a:t>HR Administrator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646675" y="5039888"/>
            <a:ext cx="2160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b="1" dirty="0" smtClean="0">
                <a:solidFill>
                  <a:srgbClr val="002060"/>
                </a:solidFill>
              </a:rPr>
              <a:t>HR Coordinator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691680" y="4319808"/>
            <a:ext cx="2160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b="1" dirty="0" smtClean="0">
                <a:solidFill>
                  <a:srgbClr val="002060"/>
                </a:solidFill>
              </a:rPr>
              <a:t>HR Officer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66655" y="1358770"/>
            <a:ext cx="2880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b="1" dirty="0" smtClean="0">
                <a:solidFill>
                  <a:srgbClr val="002060"/>
                </a:solidFill>
              </a:rPr>
              <a:t>Head of HR/ HR Director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11560" y="3599728"/>
            <a:ext cx="45905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b="1" dirty="0" smtClean="0">
                <a:solidFill>
                  <a:srgbClr val="002060"/>
                </a:solidFill>
              </a:rPr>
              <a:t>HR Generalist/ Business Partner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71600" y="2069558"/>
            <a:ext cx="3690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b="1" dirty="0" smtClean="0">
                <a:solidFill>
                  <a:srgbClr val="002060"/>
                </a:solidFill>
              </a:rPr>
              <a:t>HR Manager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71600" y="2834643"/>
            <a:ext cx="3690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b="1" dirty="0" smtClean="0">
                <a:solidFill>
                  <a:srgbClr val="002060"/>
                </a:solidFill>
              </a:rPr>
              <a:t>HR Specialist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23" name="Up Arrow 22"/>
          <p:cNvSpPr/>
          <p:nvPr/>
        </p:nvSpPr>
        <p:spPr>
          <a:xfrm>
            <a:off x="2771800" y="1718810"/>
            <a:ext cx="180020" cy="27003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Up Arrow 23"/>
          <p:cNvSpPr/>
          <p:nvPr/>
        </p:nvSpPr>
        <p:spPr>
          <a:xfrm>
            <a:off x="2726795" y="2483895"/>
            <a:ext cx="180020" cy="27003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Up Arrow 24"/>
          <p:cNvSpPr/>
          <p:nvPr/>
        </p:nvSpPr>
        <p:spPr>
          <a:xfrm>
            <a:off x="2681790" y="3248980"/>
            <a:ext cx="180020" cy="27003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Up Arrow 25"/>
          <p:cNvSpPr/>
          <p:nvPr/>
        </p:nvSpPr>
        <p:spPr>
          <a:xfrm>
            <a:off x="2681790" y="3969060"/>
            <a:ext cx="180020" cy="27003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Up Arrow 26"/>
          <p:cNvSpPr/>
          <p:nvPr/>
        </p:nvSpPr>
        <p:spPr>
          <a:xfrm>
            <a:off x="2681790" y="4689140"/>
            <a:ext cx="180020" cy="27003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Up Arrow 27"/>
          <p:cNvSpPr/>
          <p:nvPr/>
        </p:nvSpPr>
        <p:spPr>
          <a:xfrm>
            <a:off x="2636785" y="5454225"/>
            <a:ext cx="180020" cy="27003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9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0"/>
                            </p:stCondLst>
                            <p:childTnLst>
                              <p:par>
                                <p:cTn id="21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6000"/>
                            </p:stCondLst>
                            <p:childTnLst>
                              <p:par>
                                <p:cTn id="2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0"/>
                            </p:stCondLst>
                            <p:childTnLst>
                              <p:par>
                                <p:cTn id="2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8000"/>
                            </p:stCondLst>
                            <p:childTnLst>
                              <p:par>
                                <p:cTn id="3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5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9000"/>
                            </p:stCondLst>
                            <p:childTnLst>
                              <p:par>
                                <p:cTn id="37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0000"/>
                            </p:stCondLst>
                            <p:childTnLst>
                              <p:par>
                                <p:cTn id="41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1000"/>
                            </p:stCondLst>
                            <p:childTnLst>
                              <p:par>
                                <p:cTn id="4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2000"/>
                            </p:stCondLst>
                            <p:childTnLst>
                              <p:par>
                                <p:cTn id="4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3000"/>
                            </p:stCondLst>
                            <p:childTnLst>
                              <p:par>
                                <p:cTn id="5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19" grpId="0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ositive.jpg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08422" y="1043735"/>
            <a:ext cx="4498392" cy="436548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>
                <a:solidFill>
                  <a:srgbClr val="002060"/>
                </a:solidFill>
              </a:rPr>
              <a:t>Recruitment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Recruitment Agency</a:t>
            </a:r>
          </a:p>
          <a:p>
            <a:pPr>
              <a:buFont typeface="Arial" pitchFamily="34" charset="0"/>
              <a:buChar char="•"/>
            </a:pPr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Executive Search</a:t>
            </a:r>
          </a:p>
          <a:p>
            <a:pPr>
              <a:buFont typeface="Arial" pitchFamily="34" charset="0"/>
              <a:buChar char="•"/>
            </a:pPr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Experienced Hire recruitment</a:t>
            </a:r>
          </a:p>
          <a:p>
            <a:pPr>
              <a:buFont typeface="Arial" pitchFamily="34" charset="0"/>
              <a:buChar char="•"/>
            </a:pPr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Graduate recruitment</a:t>
            </a:r>
          </a:p>
          <a:p>
            <a:pPr>
              <a:buFont typeface="Arial" pitchFamily="34" charset="0"/>
              <a:buChar char="•"/>
            </a:pPr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Global Mobility</a:t>
            </a:r>
          </a:p>
          <a:p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Manpower planning</a:t>
            </a:r>
          </a:p>
          <a:p>
            <a:pPr>
              <a:buFont typeface="Arial" pitchFamily="34" charset="0"/>
              <a:buChar char="•"/>
            </a:pPr>
            <a:endParaRPr lang="en-IE" dirty="0" smtClean="0">
              <a:solidFill>
                <a:srgbClr val="002060"/>
              </a:solidFill>
            </a:endParaRPr>
          </a:p>
          <a:p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491D0EB-BEE6-4A9A-9951-4988462B62DB}" type="slidenum">
              <a:rPr lang="en-AU" smtClean="0"/>
              <a:pPr>
                <a:defRPr/>
              </a:pPr>
              <a:t>6</a:t>
            </a:fld>
            <a:endParaRPr lang="en-A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>
                <a:solidFill>
                  <a:srgbClr val="002060"/>
                </a:solidFill>
              </a:rPr>
              <a:t>Learning &amp; Development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Induction</a:t>
            </a:r>
          </a:p>
          <a:p>
            <a:pPr>
              <a:buFont typeface="Arial" pitchFamily="34" charset="0"/>
              <a:buChar char="•"/>
            </a:pPr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Technical training</a:t>
            </a:r>
          </a:p>
          <a:p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Professional skills training</a:t>
            </a:r>
          </a:p>
          <a:p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Performance Management</a:t>
            </a:r>
          </a:p>
          <a:p>
            <a:pPr>
              <a:buFont typeface="Arial" pitchFamily="34" charset="0"/>
              <a:buChar char="•"/>
            </a:pPr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Competency frameworks</a:t>
            </a:r>
          </a:p>
          <a:p>
            <a:pPr>
              <a:buFont typeface="Arial" pitchFamily="34" charset="0"/>
              <a:buChar char="•"/>
            </a:pPr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491D0EB-BEE6-4A9A-9951-4988462B62DB}" type="slidenum">
              <a:rPr lang="en-AU" smtClean="0"/>
              <a:pPr>
                <a:defRPr/>
              </a:pPr>
              <a:t>7</a:t>
            </a:fld>
            <a:endParaRPr lang="en-AU"/>
          </a:p>
        </p:txBody>
      </p:sp>
      <p:pic>
        <p:nvPicPr>
          <p:cNvPr id="7" name="Picture 6" descr="Book.gif"/>
          <p:cNvPicPr>
            <a:picLocks noChangeAspect="1"/>
          </p:cNvPicPr>
          <p:nvPr/>
        </p:nvPicPr>
        <p:blipFill>
          <a:blip r:embed="rId2" cstate="print"/>
          <a:srcRect l="10007" t="4545" r="11340" b="9091"/>
          <a:stretch>
            <a:fillRect/>
          </a:stretch>
        </p:blipFill>
        <p:spPr>
          <a:xfrm>
            <a:off x="5157065" y="1853825"/>
            <a:ext cx="3375375" cy="22502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>
                <a:solidFill>
                  <a:srgbClr val="002060"/>
                </a:solidFill>
              </a:rPr>
              <a:t>Talent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Personality Testing</a:t>
            </a:r>
          </a:p>
          <a:p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Leadership Programmes</a:t>
            </a:r>
          </a:p>
          <a:p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err="1" smtClean="0">
                <a:solidFill>
                  <a:srgbClr val="002060"/>
                </a:solidFill>
              </a:rPr>
              <a:t>HiPo</a:t>
            </a:r>
            <a:endParaRPr lang="en-IE" dirty="0" smtClean="0">
              <a:solidFill>
                <a:srgbClr val="002060"/>
              </a:solidFill>
            </a:endParaRPr>
          </a:p>
          <a:p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Career coaching</a:t>
            </a:r>
          </a:p>
          <a:p>
            <a:pPr>
              <a:buFont typeface="Arial" pitchFamily="34" charset="0"/>
              <a:buChar char="•"/>
            </a:pPr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491D0EB-BEE6-4A9A-9951-4988462B62DB}" type="slidenum">
              <a:rPr lang="en-AU" smtClean="0"/>
              <a:pPr>
                <a:defRPr/>
              </a:pPr>
              <a:t>8</a:t>
            </a:fld>
            <a:endParaRPr lang="en-AU"/>
          </a:p>
        </p:txBody>
      </p:sp>
      <p:pic>
        <p:nvPicPr>
          <p:cNvPr id="5" name="Picture 4" descr="dv152809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112060" y="0"/>
            <a:ext cx="4031940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 dirty="0" smtClean="0">
                <a:solidFill>
                  <a:srgbClr val="002060"/>
                </a:solidFill>
              </a:rPr>
              <a:t>Compensation &amp; Benefits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Benchmarking</a:t>
            </a:r>
          </a:p>
          <a:p>
            <a:pPr>
              <a:buFont typeface="Arial" pitchFamily="34" charset="0"/>
              <a:buChar char="•"/>
            </a:pPr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Salary Review</a:t>
            </a:r>
          </a:p>
          <a:p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Payroll</a:t>
            </a:r>
          </a:p>
          <a:p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Pensions</a:t>
            </a:r>
          </a:p>
          <a:p>
            <a:pPr>
              <a:buFont typeface="Arial" pitchFamily="34" charset="0"/>
              <a:buChar char="•"/>
            </a:pPr>
            <a:endParaRPr lang="en-IE" dirty="0" smtClean="0">
              <a:solidFill>
                <a:srgbClr val="00206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IE" dirty="0" smtClean="0">
                <a:solidFill>
                  <a:srgbClr val="002060"/>
                </a:solidFill>
              </a:rPr>
              <a:t>Benefits</a:t>
            </a:r>
          </a:p>
          <a:p>
            <a:pPr>
              <a:buFont typeface="Arial" pitchFamily="34" charset="0"/>
              <a:buChar char="•"/>
            </a:pP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491D0EB-BEE6-4A9A-9951-4988462B62DB}" type="slidenum">
              <a:rPr lang="en-AU" smtClean="0"/>
              <a:pPr>
                <a:defRPr/>
              </a:pPr>
              <a:t>9</a:t>
            </a:fld>
            <a:endParaRPr lang="en-AU"/>
          </a:p>
        </p:txBody>
      </p:sp>
      <p:pic>
        <p:nvPicPr>
          <p:cNvPr id="8" name="Picture 7" descr="pile%20of%20international%20coins_jpg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662010" y="1583795"/>
            <a:ext cx="3015335" cy="376916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Ov3MqI4UithTjv06J11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byCJEbwUmT4YES55gf9w"/>
</p:tagLst>
</file>

<file path=ppt/theme/theme1.xml><?xml version="1.0" encoding="utf-8"?>
<a:theme xmlns:a="http://schemas.openxmlformats.org/drawingml/2006/main" name="Office Theme">
  <a:themeElements>
    <a:clrScheme name="As One">
      <a:dk1>
        <a:sysClr val="windowText" lastClr="000000"/>
      </a:dk1>
      <a:lt1>
        <a:srgbClr val="002776"/>
      </a:lt1>
      <a:dk2>
        <a:srgbClr val="4C689F"/>
      </a:dk2>
      <a:lt2>
        <a:srgbClr val="8093BA"/>
      </a:lt2>
      <a:accent1>
        <a:srgbClr val="CAEAFF"/>
      </a:accent1>
      <a:accent2>
        <a:srgbClr val="F2F2F2"/>
      </a:accent2>
      <a:accent3>
        <a:srgbClr val="BFBFBF"/>
      </a:accent3>
      <a:accent4>
        <a:srgbClr val="7F7F7F"/>
      </a:accent4>
      <a:accent5>
        <a:srgbClr val="3F3F3F"/>
      </a:accent5>
      <a:accent6>
        <a:srgbClr val="ABDDFF"/>
      </a:accent6>
      <a:hlink>
        <a:srgbClr val="FFFFFF"/>
      </a:hlink>
      <a:folHlink>
        <a:srgbClr val="FFFF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As One">
    <a:dk1>
      <a:sysClr val="windowText" lastClr="000000"/>
    </a:dk1>
    <a:lt1>
      <a:srgbClr val="002776"/>
    </a:lt1>
    <a:dk2>
      <a:srgbClr val="4C689F"/>
    </a:dk2>
    <a:lt2>
      <a:srgbClr val="8093BA"/>
    </a:lt2>
    <a:accent1>
      <a:srgbClr val="CAEAFF"/>
    </a:accent1>
    <a:accent2>
      <a:srgbClr val="F2F2F2"/>
    </a:accent2>
    <a:accent3>
      <a:srgbClr val="BFBFBF"/>
    </a:accent3>
    <a:accent4>
      <a:srgbClr val="7F7F7F"/>
    </a:accent4>
    <a:accent5>
      <a:srgbClr val="3F3F3F"/>
    </a:accent5>
    <a:accent6>
      <a:srgbClr val="ABDDFF"/>
    </a:accent6>
    <a:hlink>
      <a:srgbClr val="FFFFFF"/>
    </a:hlink>
    <a:folHlink>
      <a:srgbClr val="FFFFF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DC75AB33420041A2C0399AD196D627" ma:contentTypeVersion="0" ma:contentTypeDescription="Create a new document." ma:contentTypeScope="" ma:versionID="2fa6290e0b52f2be0470287d88311631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AAEBF5A-73EB-43E1-85DF-2EA2372AF813}">
  <ds:schemaRefs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09E2E36D-1426-45C7-869D-FA8A3B5B65B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4F525CF2-0716-4B3A-A96E-D109786E3E8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83</TotalTime>
  <Words>194</Words>
  <Application>Microsoft Office PowerPoint</Application>
  <PresentationFormat>On-screen Show (4:3)</PresentationFormat>
  <Paragraphs>125</Paragraphs>
  <Slides>14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Office Theme</vt:lpstr>
      <vt:lpstr>think-cell Slide</vt:lpstr>
      <vt:lpstr>A Career in Human Resources</vt:lpstr>
      <vt:lpstr>Slide 2</vt:lpstr>
      <vt:lpstr>Slide 3</vt:lpstr>
      <vt:lpstr>UCD and beyond…</vt:lpstr>
      <vt:lpstr>Career Ladder</vt:lpstr>
      <vt:lpstr>Recruitment</vt:lpstr>
      <vt:lpstr>Learning &amp; Development</vt:lpstr>
      <vt:lpstr>Talent</vt:lpstr>
      <vt:lpstr>Compensation &amp; Benefits</vt:lpstr>
      <vt:lpstr>Employee Relations</vt:lpstr>
      <vt:lpstr>Employer of Choice</vt:lpstr>
      <vt:lpstr>HR Consulting</vt:lpstr>
      <vt:lpstr>Questions &amp; Answers</vt:lpstr>
      <vt:lpstr>Slide 14</vt:lpstr>
    </vt:vector>
  </TitlesOfParts>
  <Company>Deloitt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hsachdeva</dc:creator>
  <cp:lastModifiedBy>embrennan</cp:lastModifiedBy>
  <cp:revision>101</cp:revision>
  <dcterms:created xsi:type="dcterms:W3CDTF">2010-03-18T23:59:29Z</dcterms:created>
  <dcterms:modified xsi:type="dcterms:W3CDTF">2011-02-10T10:18:59Z</dcterms:modified>
</cp:coreProperties>
</file>